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4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285" r:id="rId2"/>
    <p:sldId id="286" r:id="rId3"/>
    <p:sldId id="287" r:id="rId4"/>
    <p:sldId id="288" r:id="rId5"/>
    <p:sldId id="290" r:id="rId6"/>
    <p:sldId id="291" r:id="rId7"/>
    <p:sldId id="292" r:id="rId8"/>
    <p:sldId id="293" r:id="rId9"/>
    <p:sldId id="294" r:id="rId10"/>
    <p:sldId id="296" r:id="rId11"/>
    <p:sldId id="295" r:id="rId12"/>
    <p:sldId id="297" r:id="rId13"/>
    <p:sldId id="298" r:id="rId14"/>
    <p:sldId id="299" r:id="rId15"/>
    <p:sldId id="300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256" r:id="rId27"/>
    <p:sldId id="257" r:id="rId28"/>
    <p:sldId id="258" r:id="rId29"/>
    <p:sldId id="259" r:id="rId30"/>
    <p:sldId id="260" r:id="rId31"/>
    <p:sldId id="261" r:id="rId32"/>
    <p:sldId id="262" r:id="rId33"/>
    <p:sldId id="263" r:id="rId34"/>
    <p:sldId id="264" r:id="rId35"/>
    <p:sldId id="265" r:id="rId36"/>
    <p:sldId id="266" r:id="rId37"/>
    <p:sldId id="267" r:id="rId38"/>
    <p:sldId id="268" r:id="rId39"/>
    <p:sldId id="269" r:id="rId40"/>
    <p:sldId id="270" r:id="rId41"/>
    <p:sldId id="277" r:id="rId42"/>
    <p:sldId id="278" r:id="rId43"/>
    <p:sldId id="279" r:id="rId44"/>
    <p:sldId id="280" r:id="rId45"/>
    <p:sldId id="283" r:id="rId46"/>
    <p:sldId id="284" r:id="rId47"/>
  </p:sldIdLst>
  <p:sldSz cx="12193588" cy="6858000"/>
  <p:notesSz cx="7559675" cy="10691813"/>
  <p:custDataLst>
    <p:tags r:id="rId5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86"/>
            <p14:sldId id="287"/>
            <p14:sldId id="288"/>
            <p14:sldId id="290"/>
            <p14:sldId id="291"/>
            <p14:sldId id="292"/>
            <p14:sldId id="293"/>
            <p14:sldId id="294"/>
            <p14:sldId id="296"/>
            <p14:sldId id="295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</p14:sldIdLst>
        </p14:section>
        <p14:section name="Weitere Folien" id="{DB60F583-B12D-4121-8BAE-4EFC26CACC81}">
          <p14:sldIdLst>
            <p14:sldId id="268"/>
            <p14:sldId id="269"/>
            <p14:sldId id="270"/>
            <p14:sldId id="277"/>
            <p14:sldId id="278"/>
            <p14:sldId id="279"/>
            <p14:sldId id="280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9" autoAdjust="0"/>
    <p:restoredTop sz="94660"/>
  </p:normalViewPr>
  <p:slideViewPr>
    <p:cSldViewPr snapToGrid="0" snapToObjects="1" showGuides="1">
      <p:cViewPr varScale="1">
        <p:scale>
          <a:sx n="104" d="100"/>
          <a:sy n="104" d="100"/>
        </p:scale>
        <p:origin x="74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397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Oal07Ai4oT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016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399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09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4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hyperlink" Target="https://github.com/emilybache/GildedRose-Refactoring-Kata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Working </a:t>
            </a:r>
            <a:r>
              <a:rPr lang="de-DE" kern="0" dirty="0" err="1">
                <a:solidFill>
                  <a:schemeClr val="bg1"/>
                </a:solidFill>
              </a:rPr>
              <a:t>with</a:t>
            </a:r>
            <a:r>
              <a:rPr lang="de-DE" kern="0" dirty="0">
                <a:solidFill>
                  <a:schemeClr val="bg1"/>
                </a:solidFill>
              </a:rPr>
              <a:t> </a:t>
            </a:r>
            <a:r>
              <a:rPr lang="de-DE" kern="0" dirty="0" err="1">
                <a:solidFill>
                  <a:schemeClr val="bg1"/>
                </a:solidFill>
              </a:rPr>
              <a:t>legacy</a:t>
            </a:r>
            <a:r>
              <a:rPr lang="de-DE" kern="0" dirty="0">
                <a:solidFill>
                  <a:schemeClr val="bg1"/>
                </a:solidFill>
              </a:rPr>
              <a:t> cod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Erkennen, Sicherheitsnetz einbauen und Verbessern</a:t>
            </a:r>
          </a:p>
        </p:txBody>
      </p:sp>
    </p:spTree>
    <p:extLst>
      <p:ext uri="{BB962C8B-B14F-4D97-AF65-F5344CB8AC3E}">
        <p14:creationId xmlns:p14="http://schemas.microsoft.com/office/powerpoint/2010/main" val="1468746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Key </a:t>
            </a:r>
            <a:r>
              <a:rPr lang="de-DE" dirty="0" err="1"/>
              <a:t>point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Jede Änderung braucht ein Sicherheitsnetz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der Qualität und </a:t>
            </a:r>
            <a:r>
              <a:rPr lang="de-DE" dirty="0" err="1"/>
              <a:t>Zuverlässlichkeit</a:t>
            </a:r>
            <a:r>
              <a:rPr lang="de-DE" dirty="0"/>
              <a:t> des Sicherheitsnetz wächst die Fähigkeit tiefgreifende Veränderungen zum Bessern zu mach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einem guten Sicherheitsnetz, sind Änderungen und Auslieferung mit vertretbaren Risiko im vollen Umfang jederzeit möglich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92358"/>
          </a:xfrm>
        </p:spPr>
        <p:txBody>
          <a:bodyPr/>
          <a:lstStyle/>
          <a:p>
            <a:pPr lvl="0"/>
            <a:r>
              <a:rPr lang="en-US" dirty="0"/>
              <a:t>Golden Master</a:t>
            </a:r>
          </a:p>
          <a:p>
            <a:pPr lvl="0"/>
            <a:r>
              <a:rPr lang="en-US" dirty="0"/>
              <a:t>Seam</a:t>
            </a:r>
          </a:p>
          <a:p>
            <a:pPr lvl="0"/>
            <a:r>
              <a:rPr lang="en-US" dirty="0"/>
              <a:t>Unit Test</a:t>
            </a:r>
          </a:p>
          <a:p>
            <a:pPr lvl="0"/>
            <a:r>
              <a:rPr lang="en-US" dirty="0"/>
              <a:t>Continuous Integration Practice</a:t>
            </a:r>
          </a:p>
          <a:p>
            <a:pPr lvl="0"/>
            <a:r>
              <a:rPr lang="en-US" dirty="0"/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5477800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123658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</a:t>
            </a:r>
          </a:p>
        </p:txBody>
      </p:sp>
    </p:spTree>
    <p:extLst>
      <p:ext uri="{BB962C8B-B14F-4D97-AF65-F5344CB8AC3E}">
        <p14:creationId xmlns:p14="http://schemas.microsoft.com/office/powerpoint/2010/main" val="2332874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Long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Lange Methoden „wissen“ nicht was sie tu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Die Kohäsion innerhalb der Methode fehl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Weil eine lange Methode „viel“ macht, ist es schwierige diese Methode korrekt aufzurufen und mit Fehlerfällen umzugeh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1915222"/>
          </a:xfrm>
        </p:spPr>
        <p:txBody>
          <a:bodyPr/>
          <a:lstStyle/>
          <a:p>
            <a:pPr lvl="0"/>
            <a:r>
              <a:rPr lang="de-DE" dirty="0"/>
              <a:t>Finde kohäsive Abschnitte in langen Methoden</a:t>
            </a:r>
          </a:p>
          <a:p>
            <a:pPr lvl="0"/>
            <a:r>
              <a:rPr lang="de-DE" dirty="0"/>
              <a:t>Benenne eine Methode passend zu dem was sie macht</a:t>
            </a:r>
          </a:p>
        </p:txBody>
      </p:sp>
    </p:spTree>
    <p:extLst>
      <p:ext uri="{BB962C8B-B14F-4D97-AF65-F5344CB8AC3E}">
        <p14:creationId xmlns:p14="http://schemas.microsoft.com/office/powerpoint/2010/main" val="27447551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eim Aufräumen innerhalb einer Methode wird ein kohäsive Teilabschnitt gefund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Extrahiere diesen in eine eigene Methode oder Klass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ringe sinnvolle Fehlerbehandlung in die Methode ei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gf. müssen Codezeilen nur sortiert werd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358934"/>
          </a:xfrm>
        </p:spPr>
        <p:txBody>
          <a:bodyPr/>
          <a:lstStyle/>
          <a:p>
            <a:pPr lvl="0"/>
            <a:r>
              <a:rPr lang="de-DE" dirty="0"/>
              <a:t>Sortiere zusammenhänge Code Zeilen nahe zusammen</a:t>
            </a:r>
          </a:p>
          <a:p>
            <a:pPr lvl="0"/>
            <a:r>
              <a:rPr lang="de-DE" dirty="0"/>
              <a:t>Erkenne zusammenhänge Zeilen</a:t>
            </a:r>
          </a:p>
          <a:p>
            <a:pPr lvl="0"/>
            <a:r>
              <a:rPr lang="de-DE" dirty="0"/>
              <a:t>Extrahiere diese Zeilen in eine neue Methode</a:t>
            </a:r>
          </a:p>
        </p:txBody>
      </p:sp>
    </p:spTree>
    <p:extLst>
      <p:ext uri="{BB962C8B-B14F-4D97-AF65-F5344CB8AC3E}">
        <p14:creationId xmlns:p14="http://schemas.microsoft.com/office/powerpoint/2010/main" val="7705532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</p:spTree>
    <p:extLst>
      <p:ext uri="{BB962C8B-B14F-4D97-AF65-F5344CB8AC3E}">
        <p14:creationId xmlns:p14="http://schemas.microsoft.com/office/powerpoint/2010/main" val="1410151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Extract </a:t>
            </a:r>
            <a:r>
              <a:rPr lang="de-DE" dirty="0" err="1"/>
              <a:t>clas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ibt es einen Ansammlung von Methoden, die eng miteinander in der Klasse arbeiten, aber mit vielen anderen Methoden in der Klasse nicht </a:t>
            </a:r>
            <a:r>
              <a:rPr lang="de-DE" dirty="0">
                <a:sym typeface="Wingdings" panose="05000000000000000000" pitchFamily="2" charset="2"/>
              </a:rPr>
              <a:t> überlege, ob diese Methoden in ein eigene Klasse extrahiert werden könn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ie neue Klasse kann unabhängige Zustände und Lebenszyklen hab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as Verhalten kann durch gezieltes Testen der Klasse gesichert und ausgetauscht werden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35933"/>
          </a:xfrm>
        </p:spPr>
        <p:txBody>
          <a:bodyPr/>
          <a:lstStyle/>
          <a:p>
            <a:pPr lvl="0"/>
            <a:r>
              <a:rPr lang="de-DE" dirty="0"/>
              <a:t>Methoden, die in enger Kollaboration arbeiten</a:t>
            </a:r>
          </a:p>
          <a:p>
            <a:pPr lvl="0"/>
            <a:r>
              <a:rPr lang="de-DE" dirty="0"/>
              <a:t>Zustände, die nur für diese und zwischen diesen Methoden sinn ergeben</a:t>
            </a:r>
          </a:p>
          <a:p>
            <a:pPr lvl="0"/>
            <a:r>
              <a:rPr lang="de-DE" dirty="0"/>
              <a:t>Vereinfacht testen und austauschen von Verhalten</a:t>
            </a:r>
          </a:p>
        </p:txBody>
      </p:sp>
    </p:spTree>
    <p:extLst>
      <p:ext uri="{BB962C8B-B14F-4D97-AF65-F5344CB8AC3E}">
        <p14:creationId xmlns:p14="http://schemas.microsoft.com/office/powerpoint/2010/main" val="23310023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Class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{</a:t>
            </a:r>
          </a:p>
          <a:p>
            <a:pPr algn="l"/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</a:t>
            </a:r>
            <a:r>
              <a:rPr lang="en-US" sz="11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User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(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bil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fax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addre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1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1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1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create user "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1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  <a:endParaRPr lang="en-US" sz="11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extract-class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sind Konzep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nd zu viele Details?</a:t>
            </a:r>
          </a:p>
        </p:txBody>
      </p:sp>
    </p:spTree>
    <p:extLst>
      <p:ext uri="{BB962C8B-B14F-4D97-AF65-F5344CB8AC3E}">
        <p14:creationId xmlns:p14="http://schemas.microsoft.com/office/powerpoint/2010/main" val="635105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62" b="15262"/>
          <a:stretch/>
        </p:blipFill>
        <p:spPr>
          <a:xfrm>
            <a:off x="0" y="1223963"/>
            <a:ext cx="12193588" cy="5634037"/>
          </a:xfrm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708434"/>
          </a:xfrm>
        </p:spPr>
        <p:txBody>
          <a:bodyPr/>
          <a:lstStyle/>
          <a:p>
            <a:pPr lvl="0"/>
            <a:r>
              <a:rPr lang="de-DE" sz="8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de Coverage</a:t>
            </a:r>
          </a:p>
        </p:txBody>
      </p:sp>
    </p:spTree>
    <p:extLst>
      <p:ext uri="{BB962C8B-B14F-4D97-AF65-F5344CB8AC3E}">
        <p14:creationId xmlns:p14="http://schemas.microsoft.com/office/powerpoint/2010/main" val="36738343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Code Coverage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e Code Coverage Analyse/Darstellung zeigt, welcher Code zur Ausführung komm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Code wurde überhaupt nicht ausgeführt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wurde sehr häufig ausgeführt?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Aufwände</a:t>
            </a:r>
            <a:r>
              <a:rPr lang="de-DE" dirty="0"/>
              <a:t> für das Erstellen von Unittest </a:t>
            </a:r>
            <a:r>
              <a:rPr lang="de-DE" b="1" dirty="0">
                <a:solidFill>
                  <a:schemeClr val="accent6"/>
                </a:solidFill>
              </a:rPr>
              <a:t>zu lenk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gezielt</a:t>
            </a:r>
            <a:r>
              <a:rPr lang="de-DE" dirty="0"/>
              <a:t> </a:t>
            </a:r>
            <a:r>
              <a:rPr lang="de-DE" dirty="0" err="1"/>
              <a:t>refactoring</a:t>
            </a:r>
            <a:r>
              <a:rPr lang="de-DE" dirty="0"/>
              <a:t> </a:t>
            </a:r>
            <a:r>
              <a:rPr lang="de-DE" b="1" dirty="0">
                <a:solidFill>
                  <a:schemeClr val="accent6"/>
                </a:solidFill>
              </a:rPr>
              <a:t>zu planen und durchzuführe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83848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Simple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oMag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&gt; 100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9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else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3 +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5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8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elche </a:t>
            </a:r>
            <a:r>
              <a:rPr lang="de-DE" kern="0" dirty="0" err="1"/>
              <a:t>branches</a:t>
            </a:r>
            <a:r>
              <a:rPr lang="de-DE" kern="0" dirty="0"/>
              <a:t> gibt 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iesen Code in die IDE abtipp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en Code zur Ausführung bri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Code Coverage Tool (ggf. in der IDE) aktivieren und die </a:t>
            </a:r>
            <a:r>
              <a:rPr lang="de-DE" kern="0" dirty="0" err="1"/>
              <a:t>branches</a:t>
            </a:r>
            <a:r>
              <a:rPr lang="de-DE" kern="0" dirty="0"/>
              <a:t> anschau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Mehrere Unittest schreiben, welche alle </a:t>
            </a:r>
            <a:r>
              <a:rPr lang="de-DE" kern="0" dirty="0" err="1"/>
              <a:t>branches</a:t>
            </a:r>
            <a:r>
              <a:rPr lang="de-DE" kern="0" dirty="0"/>
              <a:t> abgedeckt sind</a:t>
            </a:r>
          </a:p>
        </p:txBody>
      </p:sp>
    </p:spTree>
    <p:extLst>
      <p:ext uri="{BB962C8B-B14F-4D97-AF65-F5344CB8AC3E}">
        <p14:creationId xmlns:p14="http://schemas.microsoft.com/office/powerpoint/2010/main" val="2937075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583318-BDA7-4F3B-8FE0-B702F192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69441"/>
          </a:xfrm>
        </p:spPr>
        <p:txBody>
          <a:bodyPr/>
          <a:lstStyle/>
          <a:p>
            <a:pPr lvl="0"/>
            <a:r>
              <a:rPr lang="de-DE" dirty="0"/>
              <a:t>Was brauche ich damit ich code verbessern kann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Denke zurück als du in einem Code eine Erweiterung implementieren solltes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leichtert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schwe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ich mit deinem Partner über diese konkrete Situation</a:t>
            </a:r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DD05E0-6FB6-4F38-83F1-B93B4318955B}"/>
              </a:ext>
            </a:extLst>
          </p:cNvPr>
          <p:cNvSpPr/>
          <p:nvPr/>
        </p:nvSpPr>
        <p:spPr>
          <a:xfrm>
            <a:off x="8811490" y="286328"/>
            <a:ext cx="3179965" cy="64654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Übung: Pair-Share</a:t>
            </a:r>
          </a:p>
        </p:txBody>
      </p:sp>
    </p:spTree>
    <p:extLst>
      <p:ext uri="{BB962C8B-B14F-4D97-AF65-F5344CB8AC3E}">
        <p14:creationId xmlns:p14="http://schemas.microsoft.com/office/powerpoint/2010/main" val="1570572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chreibe einen Unittest mithilfe von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endParaRPr lang="en-US" sz="1050" dirty="0"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TripsBy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5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UserNotLoggedInExceptio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List&lt;Trip&gt;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rayList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&lt;Trip&gt;();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User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ession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Instance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oggedUser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</a:t>
            </a:r>
            <a:r>
              <a:rPr lang="en-US" sz="105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boolea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fals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if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!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endParaRPr lang="en-US" sz="1050" b="1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4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trip-service-kata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Lese die README.m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Finde den kürzesten </a:t>
            </a:r>
            <a:r>
              <a:rPr lang="de-DE" kern="0" dirty="0" err="1"/>
              <a:t>branch</a:t>
            </a: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chreibe hierfür einen Test</a:t>
            </a:r>
          </a:p>
        </p:txBody>
      </p:sp>
    </p:spTree>
    <p:extLst>
      <p:ext uri="{BB962C8B-B14F-4D97-AF65-F5344CB8AC3E}">
        <p14:creationId xmlns:p14="http://schemas.microsoft.com/office/powerpoint/2010/main" val="38245007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orteile und Vortei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5D0249-E9E2-4486-8574-2EE089713B80}"/>
              </a:ext>
            </a:extLst>
          </p:cNvPr>
          <p:cNvSpPr/>
          <p:nvPr/>
        </p:nvSpPr>
        <p:spPr>
          <a:xfrm>
            <a:off x="7592291" y="1403927"/>
            <a:ext cx="4137891" cy="1533237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: </a:t>
            </a:r>
            <a:r>
              <a:rPr lang="en-US" dirty="0" err="1">
                <a:solidFill>
                  <a:schemeClr val="tx1"/>
                </a:solidFill>
              </a:rPr>
              <a:t>tiefste</a:t>
            </a:r>
            <a:r>
              <a:rPr lang="en-US" dirty="0">
                <a:solidFill>
                  <a:schemeClr val="tx1"/>
                </a:solidFill>
              </a:rPr>
              <a:t> Ebene </a:t>
            </a:r>
            <a:r>
              <a:rPr lang="en-US" dirty="0" err="1">
                <a:solidFill>
                  <a:schemeClr val="tx1"/>
                </a:solidFill>
              </a:rPr>
              <a:t>zuers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cover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erfahren</a:t>
            </a:r>
            <a:r>
              <a:rPr lang="en-US" dirty="0">
                <a:solidFill>
                  <a:schemeClr val="tx1"/>
                </a:solidFill>
              </a:rPr>
              <a:t> was </a:t>
            </a:r>
            <a:r>
              <a:rPr lang="en-US" dirty="0" err="1">
                <a:solidFill>
                  <a:schemeClr val="tx1"/>
                </a:solidFill>
              </a:rPr>
              <a:t>diese</a:t>
            </a:r>
            <a:r>
              <a:rPr lang="en-US" dirty="0">
                <a:solidFill>
                  <a:schemeClr val="tx1"/>
                </a:solidFill>
              </a:rPr>
              <a:t> Ebene </a:t>
            </a:r>
            <a:r>
              <a:rPr lang="en-US" dirty="0" err="1">
                <a:solidFill>
                  <a:schemeClr val="tx1"/>
                </a:solidFill>
              </a:rPr>
              <a:t>macht</a:t>
            </a:r>
            <a:r>
              <a:rPr lang="en-US" dirty="0">
                <a:solidFill>
                  <a:schemeClr val="tx1"/>
                </a:solidFill>
              </a:rPr>
              <a:t>, code </a:t>
            </a:r>
            <a:r>
              <a:rPr lang="en-US" dirty="0" err="1">
                <a:solidFill>
                  <a:schemeClr val="tx1"/>
                </a:solidFill>
              </a:rPr>
              <a:t>extrahiere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oder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reduziere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youtube</a:t>
            </a:r>
            <a:r>
              <a:rPr lang="en-US" dirty="0">
                <a:solidFill>
                  <a:schemeClr val="tx1"/>
                </a:solidFill>
              </a:rPr>
              <a:t>-code und Link </a:t>
            </a:r>
            <a:r>
              <a:rPr lang="en-US" dirty="0" err="1">
                <a:solidFill>
                  <a:schemeClr val="tx1"/>
                </a:solidFill>
              </a:rPr>
              <a:t>hinzufügen</a:t>
            </a:r>
            <a:r>
              <a:rPr lang="en-US" dirty="0">
                <a:solidFill>
                  <a:schemeClr val="tx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319413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 geleitet durch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8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6"/>
            <a:ext cx="2650836" cy="1791855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en-US" dirty="0" err="1">
                <a:solidFill>
                  <a:schemeClr val="tx1"/>
                </a:solidFill>
              </a:rPr>
              <a:t>nutze</a:t>
            </a:r>
            <a:r>
              <a:rPr lang="en-US" dirty="0">
                <a:solidFill>
                  <a:schemeClr val="tx1"/>
                </a:solidFill>
              </a:rPr>
              <a:t> die IDE”, was </a:t>
            </a:r>
            <a:r>
              <a:rPr lang="en-US" dirty="0" err="1">
                <a:solidFill>
                  <a:schemeClr val="tx1"/>
                </a:solidFill>
              </a:rPr>
              <a:t>siehst</a:t>
            </a:r>
            <a:r>
              <a:rPr lang="en-US" dirty="0">
                <a:solidFill>
                  <a:schemeClr val="tx1"/>
                </a:solidFill>
              </a:rPr>
              <a:t> du?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1-2h? Wie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unterteilen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?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</p:spTree>
    <p:extLst>
      <p:ext uri="{BB962C8B-B14F-4D97-AF65-F5344CB8AC3E}">
        <p14:creationId xmlns:p14="http://schemas.microsoft.com/office/powerpoint/2010/main" val="32113395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4247317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 2</a:t>
            </a:r>
          </a:p>
        </p:txBody>
      </p:sp>
    </p:spTree>
    <p:extLst>
      <p:ext uri="{BB962C8B-B14F-4D97-AF65-F5344CB8AC3E}">
        <p14:creationId xmlns:p14="http://schemas.microsoft.com/office/powerpoint/2010/main" val="20759855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3539430"/>
          </a:xfrm>
        </p:spPr>
        <p:txBody>
          <a:bodyPr/>
          <a:lstStyle/>
          <a:p>
            <a:pPr lvl="0"/>
            <a:r>
              <a:rPr lang="de-DE" sz="115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es Zusammen</a:t>
            </a:r>
          </a:p>
        </p:txBody>
      </p:sp>
    </p:spTree>
    <p:extLst>
      <p:ext uri="{BB962C8B-B14F-4D97-AF65-F5344CB8AC3E}">
        <p14:creationId xmlns:p14="http://schemas.microsoft.com/office/powerpoint/2010/main" val="29628770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Rose #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30702ED-4534-4A17-9901-F24A472DE1B7}"/>
              </a:ext>
            </a:extLst>
          </p:cNvPr>
          <p:cNvSpPr/>
          <p:nvPr/>
        </p:nvSpPr>
        <p:spPr>
          <a:xfrm>
            <a:off x="2336800" y="4248727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DO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Code, </a:t>
            </a:r>
            <a:r>
              <a:rPr lang="en-US" dirty="0" err="1">
                <a:solidFill>
                  <a:schemeClr val="tx1"/>
                </a:solidFill>
              </a:rPr>
              <a:t>Anleitung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- </a:t>
            </a:r>
            <a:r>
              <a:rPr lang="en-US" dirty="0" err="1">
                <a:solidFill>
                  <a:schemeClr val="tx1"/>
                </a:solidFill>
              </a:rPr>
              <a:t>Stückweis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übunge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für</a:t>
            </a:r>
            <a:r>
              <a:rPr lang="en-US" dirty="0">
                <a:solidFill>
                  <a:schemeClr val="tx1"/>
                </a:solidFill>
              </a:rPr>
              <a:t> refactori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7DD1EB-574E-4D51-ACA6-9BAFEE6613C8}"/>
              </a:ext>
            </a:extLst>
          </p:cNvPr>
          <p:cNvSpPr txBox="1"/>
          <p:nvPr/>
        </p:nvSpPr>
        <p:spPr>
          <a:xfrm>
            <a:off x="3156527" y="3108144"/>
            <a:ext cx="6313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ypress/6.9.1/Cypress/resources/app/packages/server/lib/util/ensure-url.j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BE1D335-6E05-4B6F-8D2D-DF6F926606A9}"/>
              </a:ext>
            </a:extLst>
          </p:cNvPr>
          <p:cNvSpPr/>
          <p:nvPr/>
        </p:nvSpPr>
        <p:spPr>
          <a:xfrm>
            <a:off x="7403119" y="4558146"/>
            <a:ext cx="2650836" cy="127461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linkClick r:id="rId6"/>
              </a:rPr>
              <a:t>https://github.com/emilybache/GildedRose-Refactoring-Kata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85935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4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/>
              <a:t>TITEL HEADLINE VERSA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7795664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 Abgeschieden wohnen sie in Buchstabhausen an der Küste des Semantik. </a:t>
            </a:r>
            <a:br>
              <a:rPr lang="de-DE" dirty="0"/>
            </a:br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Abgeschieden wohnen sie in Buchstabhausen an der Küste des Semantik, </a:t>
            </a:r>
            <a:br>
              <a:rPr lang="de-DE" dirty="0"/>
            </a:br>
            <a:r>
              <a:rPr lang="de-DE" dirty="0"/>
              <a:t>eines großen Sprachozeans. 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FOLIE MIT ZWEI HEADLINES.</a:t>
            </a:r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08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28829637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icherheitsnetz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Fähigkeit Veränderungen durchzuführ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Beurteilungsfähigkeit ob etwas besser oder schlechter geworden i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ie muss ein Sicherheitsnetz aussehen, welches bei Legacy Code „Sicherheit“ bieten kann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Sicherheitsnetz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Unit-te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2592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64E09B1-E192-4AD1-9AD7-E17913C547E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accent2">
              <a:alpha val="32000"/>
            </a:schemeClr>
          </a:solidFill>
        </p:spPr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 UND HEADLINE</a:t>
            </a:r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13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WICHTIGEM KAS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: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415359"/>
          </a:xfrm>
        </p:spPr>
        <p:txBody>
          <a:bodyPr/>
          <a:lstStyle/>
          <a:p>
            <a:pPr lvl="0"/>
            <a:r>
              <a:rPr lang="de-DE" dirty="0"/>
              <a:t>Weit vorne</a:t>
            </a:r>
          </a:p>
          <a:p>
            <a:pPr lvl="0"/>
            <a:r>
              <a:rPr lang="de-DE" dirty="0"/>
              <a:t>die Wortberge</a:t>
            </a:r>
          </a:p>
          <a:p>
            <a:pPr lvl="0"/>
            <a:r>
              <a:rPr lang="de-DE" dirty="0"/>
              <a:t>in alle Länder</a:t>
            </a:r>
          </a:p>
          <a:p>
            <a:pPr lvl="0"/>
            <a:r>
              <a:rPr lang="de-DE" dirty="0"/>
              <a:t>purzeln die </a:t>
            </a:r>
            <a:r>
              <a:rPr lang="de-DE" dirty="0" err="1"/>
              <a:t>Vokalien</a:t>
            </a:r>
            <a:endParaRPr lang="de-DE" dirty="0"/>
          </a:p>
          <a:p>
            <a:pPr lvl="0"/>
            <a:r>
              <a:rPr lang="de-DE" dirty="0"/>
              <a:t>und lieben Blindtexte </a:t>
            </a:r>
          </a:p>
        </p:txBody>
      </p:sp>
    </p:spTree>
    <p:extLst>
      <p:ext uri="{BB962C8B-B14F-4D97-AF65-F5344CB8AC3E}">
        <p14:creationId xmlns:p14="http://schemas.microsoft.com/office/powerpoint/2010/main" val="42019533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1B2466-95F9-4851-8A01-A8B2F18E3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14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8E66A55-5F2C-4277-85E6-7507ED40E5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776DEF1-4DA8-4095-95B9-B6DDC95D0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 UND STÖRER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FDB1E67-1BFA-44F5-81A7-FB5BB2507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5B8B89-5FB9-4210-A16D-1911D4F09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/>
          <a:p>
            <a:pPr lvl="0"/>
            <a:r>
              <a:rPr lang="de-DE" dirty="0"/>
              <a:t>Weit hinten, hinter den Wortbergen, </a:t>
            </a:r>
            <a:br>
              <a:rPr lang="de-DE" dirty="0"/>
            </a:br>
            <a:r>
              <a:rPr lang="de-DE" dirty="0"/>
              <a:t>fern der Länder </a:t>
            </a:r>
            <a:r>
              <a:rPr lang="de-DE" dirty="0" err="1"/>
              <a:t>Vokalien</a:t>
            </a:r>
            <a:r>
              <a:rPr lang="de-DE" dirty="0"/>
              <a:t> und</a:t>
            </a:r>
            <a:br>
              <a:rPr lang="de-DE" dirty="0"/>
            </a:b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Eines Tages aber beschloss eine kleine Zeile Blindtext …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5CC043-FD62-4F4E-9C2D-10C9DF93D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77883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DATA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r>
              <a:rPr lang="de-DE" dirty="0"/>
              <a:t>@</a:t>
            </a:r>
            <a:r>
              <a:rPr lang="de-DE" dirty="0" err="1"/>
              <a:t>Override</a:t>
            </a:r>
            <a:endParaRPr lang="de-DE" dirty="0"/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/>
              <a:t>update(</a:t>
            </a:r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subject</a:t>
            </a:r>
            <a:r>
              <a:rPr lang="de-DE" dirty="0"/>
              <a:t> {</a:t>
            </a:r>
          </a:p>
          <a:p>
            <a:pPr lvl="0"/>
            <a:r>
              <a:rPr lang="de-DE" b="1" dirty="0">
                <a:solidFill>
                  <a:srgbClr val="010180"/>
                </a:solidFill>
              </a:rPr>
              <a:t>    </a:t>
            </a:r>
            <a:r>
              <a:rPr lang="de-DE" b="1" dirty="0" err="1">
                <a:solidFill>
                  <a:srgbClr val="010180"/>
                </a:solidFill>
              </a:rPr>
              <a:t>if</a:t>
            </a:r>
            <a:r>
              <a:rPr lang="de-DE" dirty="0"/>
              <a:t>(</a:t>
            </a:r>
            <a:r>
              <a:rPr lang="de-DE" b="1" dirty="0" err="1">
                <a:solidFill>
                  <a:srgbClr val="010180"/>
                </a:solidFill>
              </a:rPr>
              <a:t>this.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/>
              <a:t> == </a:t>
            </a:r>
            <a:r>
              <a:rPr lang="de-DE" dirty="0" err="1"/>
              <a:t>subjec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			</a:t>
            </a:r>
            <a:r>
              <a:rPr lang="de-DE" dirty="0" err="1"/>
              <a:t>show</a:t>
            </a:r>
            <a:r>
              <a:rPr lang="de-DE" dirty="0"/>
              <a:t>();}</a:t>
            </a:r>
          </a:p>
          <a:p>
            <a:pPr lvl="0"/>
            <a:endParaRPr lang="de-DE" b="1" dirty="0">
              <a:solidFill>
                <a:srgbClr val="010180"/>
              </a:solidFill>
            </a:endParaRPr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 err="1"/>
              <a:t>show</a:t>
            </a:r>
            <a:r>
              <a:rPr lang="de-DE" dirty="0"/>
              <a:t>(){</a:t>
            </a:r>
          </a:p>
          <a:p>
            <a:pPr lvl="0"/>
            <a:r>
              <a:rPr lang="de-DE" dirty="0"/>
              <a:t>	String </a:t>
            </a:r>
            <a:r>
              <a:rPr lang="de-DE" dirty="0" err="1"/>
              <a:t>data</a:t>
            </a:r>
            <a:r>
              <a:rPr lang="de-DE" dirty="0"/>
              <a:t> = 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 err="1"/>
              <a:t>.getData</a:t>
            </a:r>
            <a:r>
              <a:rPr lang="de-DE" dirty="0"/>
              <a:t>();    	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received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=======================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New 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: " +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+ "</a:t>
            </a:r>
            <a:r>
              <a:rPr lang="de-DE" b="1" dirty="0">
                <a:solidFill>
                  <a:srgbClr val="010180"/>
                </a:solidFill>
              </a:rPr>
              <a:t>\n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}</a:t>
            </a: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1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GANZ HELLER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C3F87F-54AE-44E2-AB1D-AE0208D3B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0066479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F2F02F-2CA0-4A0B-A9DC-2D6ABAD9E7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15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FFD9D31-7BDA-4BD4-B135-1C858AD881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6A2CA632-9494-407B-9CB5-A282992ED8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223963"/>
            <a:ext cx="12193588" cy="27400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3803F8C-6E06-4B15-AAD2-09250D499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FEFDC59-E357-46BB-B387-1374F10622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C53520-652B-4F50-9FF9-8F5F9F824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229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89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2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.</a:t>
            </a:r>
          </a:p>
          <a:p>
            <a:pPr lvl="0"/>
            <a:endParaRPr lang="de-DE" dirty="0"/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888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77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3" y="3033713"/>
            <a:ext cx="5112545" cy="3095624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F130903-B9C4-4446-936B-3426A23B1ED8}"/>
              </a:ext>
            </a:extLst>
          </p:cNvPr>
          <p:cNvGrpSpPr/>
          <p:nvPr/>
        </p:nvGrpSpPr>
        <p:grpSpPr>
          <a:xfrm>
            <a:off x="947738" y="1946734"/>
            <a:ext cx="5149055" cy="3072359"/>
            <a:chOff x="1493520" y="3209379"/>
            <a:chExt cx="4755674" cy="3072359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6D5F1A82-A5F7-4B2F-ADE4-641B8D7569D2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0A3A68F3-331F-48BE-8F58-553DE9BCCDDD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191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B1089D6-FC1D-4308-A219-FC37C390DA5F}"/>
              </a:ext>
            </a:extLst>
          </p:cNvPr>
          <p:cNvGrpSpPr/>
          <p:nvPr/>
        </p:nvGrpSpPr>
        <p:grpSpPr>
          <a:xfrm>
            <a:off x="1341120" y="3056979"/>
            <a:ext cx="4755674" cy="3072359"/>
            <a:chOff x="1493520" y="3209379"/>
            <a:chExt cx="4755674" cy="3072359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0398E6F7-648D-4D29-A34E-DB29DD05A168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EBD88B2C-0EB1-49E2-B1EC-1712278CA660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628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Zur Erinnerung – ein einfacher </a:t>
            </a:r>
            <a:r>
              <a:rPr lang="de-DE" dirty="0" err="1"/>
              <a:t>unit</a:t>
            </a:r>
            <a:r>
              <a:rPr lang="de-DE" dirty="0"/>
              <a:t>-tes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Tes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noDiscountLessThan10Visits(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giv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calDate.</a:t>
            </a:r>
            <a:r>
              <a:rPr lang="en-US" sz="14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en-US" sz="14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1970, 5, 22)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NumberOfVisit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3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TicketMachine</a:t>
            </a:r>
            <a:r>
              <a:rPr lang="en-US" sz="1400" u="sng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w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playTicketPric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2A00FF"/>
                </a:solidFill>
                <a:latin typeface="Consolas" panose="020B0609020204030204" pitchFamily="49" charset="0"/>
              </a:rPr>
              <a:t>"DISCOUN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t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i="1" dirty="0">
                <a:solidFill>
                  <a:srgbClr val="2A00FF"/>
                </a:solidFill>
                <a:latin typeface="Consolas" panose="020B0609020204030204" pitchFamily="49" charset="0"/>
              </a:rPr>
              <a:t>"please pay 10,00"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i="1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19405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99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5F243D0-5CD3-473A-B9EA-448F4C5C1A00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3BFB58-270A-423B-BCF0-A0B2C45AE93D}"/>
              </a:ext>
            </a:extLst>
          </p:cNvPr>
          <p:cNvSpPr/>
          <p:nvPr/>
        </p:nvSpPr>
        <p:spPr>
          <a:xfrm rot="10800000">
            <a:off x="5340236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C3A86C3-B41B-4C49-8704-4D76A3C93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699577" y="2675396"/>
            <a:ext cx="5112543" cy="2750044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3689925-3C9A-4235-872D-4969DA02E52F}"/>
              </a:ext>
            </a:extLst>
          </p:cNvPr>
          <p:cNvGrpSpPr/>
          <p:nvPr/>
        </p:nvGrpSpPr>
        <p:grpSpPr>
          <a:xfrm>
            <a:off x="7563960" y="3392259"/>
            <a:ext cx="3640659" cy="3072359"/>
            <a:chOff x="1493520" y="3209379"/>
            <a:chExt cx="4755674" cy="3072359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25CE7AE-4B4B-45EA-AE8F-EC3A2A05919F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22" name="Text Placeholder 3">
              <a:extLst>
                <a:ext uri="{FF2B5EF4-FFF2-40B4-BE49-F238E27FC236}">
                  <a16:creationId xmlns:a16="http://schemas.microsoft.com/office/drawing/2014/main" id="{A8A16760-903C-494B-8D6E-4487B4078E33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753087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26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373202C-0E85-4461-8353-035947C9FDF7}"/>
              </a:ext>
            </a:extLst>
          </p:cNvPr>
          <p:cNvSpPr/>
          <p:nvPr/>
        </p:nvSpPr>
        <p:spPr>
          <a:xfrm>
            <a:off x="8985613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5FAB797-B87C-4848-853A-589D763E820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47738" y="1946732"/>
            <a:ext cx="7307262" cy="4182603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1B63F71-11D1-4178-9433-39E45811DA8F}"/>
              </a:ext>
            </a:extLst>
          </p:cNvPr>
          <p:cNvSpPr txBox="1">
            <a:spLocks/>
          </p:cNvSpPr>
          <p:nvPr/>
        </p:nvSpPr>
        <p:spPr>
          <a:xfrm>
            <a:off x="9763761" y="5039360"/>
            <a:ext cx="1445578" cy="10899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R="0" indent="0" defTabSz="720725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b="0" i="0" u="none" strike="noStrike" baseline="0">
                <a:ln>
                  <a:noFill/>
                </a:ln>
                <a:latin typeface="Arial" pitchFamily="18"/>
                <a:cs typeface="Arial" pitchFamily="18"/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2pPr>
            <a:lvl3pPr marL="3571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3pPr>
            <a:lvl4pPr marL="5365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4pPr>
            <a:lvl5pPr marL="7143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Roter Apfel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2DC7D7F-3328-4D0B-AB3D-B8AC30E22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16635AE-0BE4-418F-A6F5-FF509ADF643C}"/>
              </a:ext>
            </a:extLst>
          </p:cNvPr>
          <p:cNvSpPr txBox="1">
            <a:spLocks/>
          </p:cNvSpPr>
          <p:nvPr/>
        </p:nvSpPr>
        <p:spPr>
          <a:xfrm>
            <a:off x="9763761" y="3614921"/>
            <a:ext cx="1482090" cy="115416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R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latin typeface="Arial" pitchFamily="18"/>
                <a:cs typeface="Arial" pitchFamily="18"/>
              </a:defRPr>
            </a:lvl1pPr>
          </a:lstStyle>
          <a:p>
            <a:r>
              <a:rPr lang="de-DE" dirty="0"/>
              <a:t>Apfel </a:t>
            </a:r>
            <a:br>
              <a:rPr lang="de-DE" dirty="0"/>
            </a:br>
            <a:r>
              <a:rPr lang="de-DE" dirty="0"/>
              <a:t>ist Gesund!</a:t>
            </a:r>
          </a:p>
        </p:txBody>
      </p:sp>
    </p:spTree>
    <p:extLst>
      <p:ext uri="{BB962C8B-B14F-4D97-AF65-F5344CB8AC3E}">
        <p14:creationId xmlns:p14="http://schemas.microsoft.com/office/powerpoint/2010/main" val="19826875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66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E8D66839-84EB-4FA9-B0BA-6D2926A51D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D2B6F72-64A9-421B-BC49-3EED06B3A21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EAF5509-C49E-4A23-AB4E-0D6AA950F145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5AF6F6-33AD-48B3-B3C9-9B30676473F9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0B1980-DBE2-497F-85DF-0B03765DE0C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D081BE7-243D-438B-A9DE-50C4876E770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8E16904-D2AF-4311-8793-0D4B469E8308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61BF106-8E7C-4053-A9E4-C8DEC355F04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CC37E2-BD9B-4F96-931B-66949BC46F9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41C54DE-29E7-481E-85FA-14B567FBB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E4AC89-4865-4EA0-8176-5C9597C07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734857D-D1F2-4981-99C3-F048BF40D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D626A03-DC9E-4E6D-BAC1-408CC6418882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F3B491-2AED-47B2-981D-E6EBD59A93AB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247436549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250902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64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0EDFEE73-8DD0-4A87-B8FD-808787B260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95696-766C-4C27-8EF3-F70372EA357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DB9E31A-2C94-4A87-961C-E11E132B2E8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376569832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9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C20A542-C62A-4A84-87CB-9BE31A9EEFC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E41F24-F405-4D85-8264-3A272F689EC3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42608DE-33D3-4A9E-AB48-3ADB9FC39DD8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5ABBA4-5892-4E82-A690-6C0ECAFE45D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BB0D2DC-17B5-4FE7-BA8F-96249124F7E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5439910-636D-4A38-8388-3E64EF5E6E7A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DE7A86D-238E-4B27-9ACD-CC11ACF8807A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13779E2-E355-4DCE-97BC-E42AB70D98F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83B2561-B43C-4865-BC08-2392A3AEC81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7A60D5D-6331-4DCA-A756-322CF94ED9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B87818B-F7E4-47ED-8299-3E0F58CEB8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F59ED86-B10F-4717-BC15-0AF77F017BFF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0CA0C7-5105-47F5-9205-A0792F94E69D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1040492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Sicherheitsnetz in komplexen </a:t>
            </a:r>
            <a:r>
              <a:rPr lang="de-DE" dirty="0" err="1">
                <a:solidFill>
                  <a:schemeClr val="bg2"/>
                </a:solidFill>
              </a:rPr>
              <a:t>legac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systemen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Legacy System kennzeichnen sich häufig durch fehlende oder zu wenig Tests aus.</a:t>
            </a:r>
          </a:p>
          <a:p>
            <a:pPr lvl="0"/>
            <a:r>
              <a:rPr lang="de-DE" dirty="0"/>
              <a:t>Gleichzeitig eine hohe Komplexität.</a:t>
            </a:r>
          </a:p>
          <a:p>
            <a:pPr lvl="0"/>
            <a:r>
              <a:rPr lang="de-DE" dirty="0"/>
              <a:t>Gleichzeitig ein komplexes Softwaredesign, welches das Erstellen von Tests nicht begünstigt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Der </a:t>
            </a:r>
            <a:r>
              <a:rPr lang="de-DE" b="1" dirty="0">
                <a:solidFill>
                  <a:schemeClr val="accent6"/>
                </a:solidFill>
              </a:rPr>
              <a:t>Golden Master</a:t>
            </a:r>
            <a:r>
              <a:rPr lang="de-DE" b="1" dirty="0"/>
              <a:t> Ansatz bietet eine Möglichkeit ein Sicherheitsnetz einzuziehen.</a:t>
            </a:r>
          </a:p>
        </p:txBody>
      </p:sp>
    </p:spTree>
    <p:extLst>
      <p:ext uri="{BB962C8B-B14F-4D97-AF65-F5344CB8AC3E}">
        <p14:creationId xmlns:p14="http://schemas.microsoft.com/office/powerpoint/2010/main" val="1718348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de-DE" dirty="0"/>
              <a:t>Jede Interaktion mit externen System wird sehr detailliert protokollier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Gegen dieses Protokoll (=Golden Master) wird kontinuierlich geteste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Falls der Test okay ist, ist man sicher, dass die Applikation immer noch korrekt ist. </a:t>
            </a:r>
            <a:br>
              <a:rPr lang="de-DE" dirty="0"/>
            </a:br>
            <a:r>
              <a:rPr lang="de-DE" dirty="0"/>
              <a:t>Relativ zu vor den Änderungen</a:t>
            </a:r>
          </a:p>
          <a:p>
            <a:pPr lvl="0"/>
            <a:r>
              <a:rPr lang="de-DE" dirty="0">
                <a:sym typeface="Wingdings" panose="05000000000000000000" pitchFamily="2" charset="2"/>
              </a:rPr>
              <a:t> = Sicherheitsnetz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3136069"/>
          </a:xfrm>
        </p:spPr>
        <p:txBody>
          <a:bodyPr/>
          <a:lstStyle/>
          <a:p>
            <a:pPr lvl="0"/>
            <a:r>
              <a:rPr lang="de-DE" dirty="0"/>
              <a:t>Konsolenausgabe</a:t>
            </a:r>
          </a:p>
          <a:p>
            <a:pPr lvl="0"/>
            <a:r>
              <a:rPr lang="de-DE" dirty="0"/>
              <a:t>Aufrufe über das Netzwerk</a:t>
            </a:r>
          </a:p>
          <a:p>
            <a:pPr lvl="0"/>
            <a:r>
              <a:rPr lang="de-DE" dirty="0"/>
              <a:t>Aufrufe (und Änderungen) auf der Datenbank</a:t>
            </a:r>
          </a:p>
          <a:p>
            <a:pPr lvl="0"/>
            <a:r>
              <a:rPr lang="de-DE" dirty="0"/>
              <a:t>Systemprotokolldateien</a:t>
            </a:r>
          </a:p>
          <a:p>
            <a:pPr lvl="0"/>
            <a:r>
              <a:rPr lang="de-DE" dirty="0"/>
              <a:t>Geldtransferanweisungen</a:t>
            </a:r>
          </a:p>
          <a:p>
            <a:pPr lvl="0"/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92416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r Golden </a:t>
            </a:r>
            <a:r>
              <a:rPr lang="de-DE" dirty="0" err="1"/>
              <a:t>master</a:t>
            </a:r>
            <a:r>
              <a:rPr lang="de-DE" dirty="0"/>
              <a:t> – Fizz Buzz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zzBuzz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nn-NO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System.</a:t>
            </a:r>
            <a:r>
              <a:rPr lang="nn-NO" sz="1200" b="1" i="1" dirty="0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nn-NO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.println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2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FizzBuzz's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endParaRPr lang="en-US" sz="1200" b="1" dirty="0">
              <a:solidFill>
                <a:srgbClr val="3F7F5F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\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golden-master-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zzbuzz</a:t>
            </a:r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826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</a:t>
            </a:r>
            <a:r>
              <a:rPr lang="de-DE" dirty="0" err="1">
                <a:solidFill>
                  <a:schemeClr val="accent6"/>
                </a:solidFill>
              </a:rPr>
              <a:t>seams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 „</a:t>
            </a:r>
            <a:r>
              <a:rPr lang="de-DE" b="1" dirty="0" err="1">
                <a:solidFill>
                  <a:schemeClr val="accent6"/>
                </a:solidFill>
              </a:rPr>
              <a:t>seam</a:t>
            </a:r>
            <a:r>
              <a:rPr lang="de-DE" dirty="0"/>
              <a:t>“ ist eine Nahtstelle, die aufgetrennt werden kann.</a:t>
            </a:r>
          </a:p>
          <a:p>
            <a:pPr lvl="0"/>
            <a:r>
              <a:rPr lang="de-DE" dirty="0"/>
              <a:t>Im Code ist sind es Stellen, um z.B. Informationen abzugreifen oder ein besonderes Verhalten einzuführen.</a:t>
            </a:r>
          </a:p>
          <a:p>
            <a:pPr lvl="0"/>
            <a:r>
              <a:rPr lang="de-DE" dirty="0"/>
              <a:t>Häufig bei Golden Master müssen wir non-invasive Codeänderungen einführen, damit wir an interessante Informationen kommen.</a:t>
            </a:r>
          </a:p>
          <a:p>
            <a:pPr lvl="0"/>
            <a:r>
              <a:rPr lang="de-DE" dirty="0"/>
              <a:t>Speziell in komplexen Fällen führen wir </a:t>
            </a:r>
            <a:r>
              <a:rPr lang="de-DE" dirty="0" err="1"/>
              <a:t>seams</a:t>
            </a:r>
            <a:r>
              <a:rPr lang="de-DE" dirty="0"/>
              <a:t> ein, damit wir einen besseren Golden Master erstellen können. </a:t>
            </a:r>
            <a:r>
              <a:rPr lang="de-DE" b="1" dirty="0">
                <a:solidFill>
                  <a:schemeClr val="accent6"/>
                </a:solidFill>
              </a:rPr>
              <a:t>Später dienen diese </a:t>
            </a:r>
            <a:r>
              <a:rPr lang="de-DE" b="1" dirty="0" err="1">
                <a:solidFill>
                  <a:schemeClr val="accent6"/>
                </a:solidFill>
              </a:rPr>
              <a:t>seams</a:t>
            </a:r>
            <a:r>
              <a:rPr lang="de-DE" b="1" dirty="0">
                <a:solidFill>
                  <a:schemeClr val="accent6"/>
                </a:solidFill>
              </a:rPr>
              <a:t> als Ausgangspunkt um das Software Design zu verbessern</a:t>
            </a:r>
            <a:r>
              <a:rPr lang="de-DE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69467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Seams</a:t>
            </a:r>
            <a:r>
              <a:rPr lang="de-DE" dirty="0"/>
              <a:t> und 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Hello User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URL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URL(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https://www.timeanddate.com/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open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RequestMetho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>
                <a:solidFill>
                  <a:srgbClr val="2A00FF"/>
                </a:solidFill>
                <a:latin typeface="Consolas" panose="020B0609020204030204" pitchFamily="49" charset="0"/>
              </a:rPr>
              <a:t>"GET"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DoOutp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ru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flush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nputStream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In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whil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(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read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 !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appe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connec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fina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String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&lt;span id=\"</a:t>
            </a:r>
            <a:r>
              <a:rPr lang="en-US" sz="10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lk_hm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\"&gt;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indexOf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substring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5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Bye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47DD8DD-B9F5-4A4F-B4C6-729E451DCEEC}"/>
              </a:ext>
            </a:extLst>
          </p:cNvPr>
          <p:cNvSpPr txBox="1">
            <a:spLocks/>
          </p:cNvSpPr>
          <p:nvPr/>
        </p:nvSpPr>
        <p:spPr>
          <a:xfrm>
            <a:off x="7481772" y="2863162"/>
            <a:ext cx="4609956" cy="106405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0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BuildSeamsInto's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AND network communication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1000" kern="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952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1kQEejTyEMAO3Re6Rz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Xv2CfPmN8Y3mYBMopW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23</Words>
  <Application>Microsoft Office PowerPoint</Application>
  <PresentationFormat>Benutzerdefiniert</PresentationFormat>
  <Paragraphs>355</Paragraphs>
  <Slides>4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54" baseType="lpstr">
      <vt:lpstr>Arial</vt:lpstr>
      <vt:lpstr>Calibri</vt:lpstr>
      <vt:lpstr>Consolas</vt:lpstr>
      <vt:lpstr>Courier New</vt:lpstr>
      <vt:lpstr>Symbol</vt:lpstr>
      <vt:lpstr>Times New Roman</vt:lpstr>
      <vt:lpstr>2019 @ CAM Master</vt:lpstr>
      <vt:lpstr>think-cell Folie</vt:lpstr>
      <vt:lpstr>PowerPoint-Präsentation</vt:lpstr>
      <vt:lpstr>Was brauche ich damit ich code verbessern kann?</vt:lpstr>
      <vt:lpstr>Sicherheitsnetz</vt:lpstr>
      <vt:lpstr>Zur Erinnerung – ein einfacher unit-test</vt:lpstr>
      <vt:lpstr>Sicherheitsnetz in komplexen legacy systemen</vt:lpstr>
      <vt:lpstr>Golden master</vt:lpstr>
      <vt:lpstr>Einfacher Golden master – Fizz Buzz</vt:lpstr>
      <vt:lpstr>Was sind seams?</vt:lpstr>
      <vt:lpstr>Seams und Golden master</vt:lpstr>
      <vt:lpstr>Key points</vt:lpstr>
      <vt:lpstr>Pattern</vt:lpstr>
      <vt:lpstr>Pattern: Long method</vt:lpstr>
      <vt:lpstr>refactoring: extract method</vt:lpstr>
      <vt:lpstr>Extract method</vt:lpstr>
      <vt:lpstr>Pattern: Extract class</vt:lpstr>
      <vt:lpstr>Extract Classes</vt:lpstr>
      <vt:lpstr>Code Coverage</vt:lpstr>
      <vt:lpstr>Was sind Code Coverage?</vt:lpstr>
      <vt:lpstr>Einfache Code Coverage</vt:lpstr>
      <vt:lpstr>Schreibe einen Unittest mithilfe von Code Coverage</vt:lpstr>
      <vt:lpstr>Vorteile und Vorteile</vt:lpstr>
      <vt:lpstr>Refactoring geleitet durch Code Coverage</vt:lpstr>
      <vt:lpstr>Pattern 2</vt:lpstr>
      <vt:lpstr>Alles Zusammen</vt:lpstr>
      <vt:lpstr>Golden Rose #1</vt:lpstr>
      <vt:lpstr>PowerPoint-Präsentation</vt:lpstr>
      <vt:lpstr>TITEL HEADLINE VERSAL</vt:lpstr>
      <vt:lpstr>FOLIE MIT FARBVARIANTE</vt:lpstr>
      <vt:lpstr>FOLIE MIT FARBVARIANTE</vt:lpstr>
      <vt:lpstr>FOLIE MIT BILD UND HEADLINE</vt:lpstr>
      <vt:lpstr>FOLIE MIT WICHTIGEM KASTEN</vt:lpstr>
      <vt:lpstr>FOLIE MIT FARBVARIANTE UND STÖRER</vt:lpstr>
      <vt:lpstr>FOLIE MIT DATA</vt:lpstr>
      <vt:lpstr>FOLIE MIT GANZ HELLER FARBVARIANTE</vt:lpstr>
      <vt:lpstr>FOLIE MIT BILD UND TEXT Variante 1</vt:lpstr>
      <vt:lpstr>FOLIE MIT BILD UND TEXT Variante 2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ichael Mai</cp:lastModifiedBy>
  <cp:revision>213</cp:revision>
  <dcterms:created xsi:type="dcterms:W3CDTF">2019-07-01T16:47:04Z</dcterms:created>
  <dcterms:modified xsi:type="dcterms:W3CDTF">2021-06-28T08:33:57Z</dcterms:modified>
</cp:coreProperties>
</file>